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6" r:id="rId5"/>
    <p:sldMasterId id="2147483694" r:id="rId6"/>
  </p:sldMasterIdLst>
  <p:notesMasterIdLst>
    <p:notesMasterId r:id="rId13"/>
  </p:notesMasterIdLst>
  <p:handoutMasterIdLst>
    <p:handoutMasterId r:id="rId14"/>
  </p:handoutMasterIdLst>
  <p:sldIdLst>
    <p:sldId id="563" r:id="rId7"/>
    <p:sldId id="566" r:id="rId8"/>
    <p:sldId id="585" r:id="rId9"/>
    <p:sldId id="586" r:id="rId10"/>
    <p:sldId id="587" r:id="rId11"/>
    <p:sldId id="558" r:id="rId12"/>
  </p:sldIdLst>
  <p:sldSz cx="9144000" cy="5143500" type="screen16x9"/>
  <p:notesSz cx="6797675" cy="9926638"/>
  <p:custDataLst>
    <p:tags r:id="rId15"/>
  </p:custDataLst>
  <p:defaultTextStyle>
    <a:defPPr marL="0" marR="0" indent="0" algn="l" defTabSz="342892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75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1pPr>
    <a:lvl2pPr marL="0" marR="0" indent="342874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2pPr>
    <a:lvl3pPr marL="0" marR="0" indent="685749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3pPr>
    <a:lvl4pPr marL="0" marR="0" indent="1028623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4pPr>
    <a:lvl5pPr marL="0" marR="0" indent="1371497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5pPr>
    <a:lvl6pPr marL="0" marR="0" indent="1714373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6pPr>
    <a:lvl7pPr marL="0" marR="0" indent="2057246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7pPr>
    <a:lvl8pPr marL="0" marR="0" indent="2400120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8pPr>
    <a:lvl9pPr marL="0" marR="0" indent="2742995" algn="l" defTabSz="685749" rtl="0" fontAlgn="auto" latinLnBrk="0" hangingPunct="0">
      <a:lnSpc>
        <a:spcPct val="114000"/>
      </a:lnSpc>
      <a:spcBef>
        <a:spcPts val="0"/>
      </a:spcBef>
      <a:spcAft>
        <a:spcPts val="0"/>
      </a:spcAft>
      <a:buClrTx/>
      <a:buSzTx/>
      <a:buFontTx/>
      <a:buNone/>
      <a:tabLst/>
      <a:defRPr kumimoji="0" sz="638" b="0" i="0" u="none" strike="noStrike" cap="none" spc="0" normalizeH="0" baseline="0">
        <a:ln>
          <a:noFill/>
        </a:ln>
        <a:solidFill>
          <a:srgbClr val="333333"/>
        </a:solidFill>
        <a:effectLst/>
        <a:uFillTx/>
        <a:latin typeface="Lato Light"/>
        <a:ea typeface="Lato Light"/>
        <a:cs typeface="Lato Light"/>
        <a:sym typeface="Lato Light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9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700"/>
    <a:srgbClr val="00FCFF"/>
    <a:srgbClr val="FFD800"/>
    <a:srgbClr val="008BCD"/>
    <a:srgbClr val="333333"/>
    <a:srgbClr val="903E84"/>
    <a:srgbClr val="DBE442"/>
    <a:srgbClr val="FFFFFF"/>
    <a:srgbClr val="B6B8DC"/>
    <a:srgbClr val="93B2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343D22-33E3-4E59-9A58-D4080DF1AB3D}" v="1" dt="2022-12-22T15:28:05.349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CAD8F7"/>
          </a:solidFill>
        </a:fill>
      </a:tcStyle>
    </a:wholeTbl>
    <a:band2H>
      <a:tcTxStyle/>
      <a:tcStyle>
        <a:tcBdr/>
        <a:fill>
          <a:solidFill>
            <a:srgbClr val="E6EDFB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381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381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CACEDA"/>
          </a:solidFill>
        </a:fill>
      </a:tcStyle>
    </a:wholeTbl>
    <a:band2H>
      <a:tcTxStyle/>
      <a:tcStyle>
        <a:tcBdr/>
        <a:fill>
          <a:solidFill>
            <a:srgbClr val="E6E8ED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381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381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CEDDF0"/>
          </a:solidFill>
        </a:fill>
      </a:tcStyle>
    </a:wholeTbl>
    <a:band2H>
      <a:tcTxStyle/>
      <a:tcStyle>
        <a:tcBdr/>
        <a:fill>
          <a:solidFill>
            <a:srgbClr val="E8EFF8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381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381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7E7E7"/>
          </a:solidFill>
        </a:fill>
      </a:tcStyle>
    </a:wholeTbl>
    <a:band2H>
      <a:tcTxStyle/>
      <a:tcStyle>
        <a:tcBdr/>
        <a:fill>
          <a:solidFill>
            <a:srgbClr val="F4F4F4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33333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333333"/>
              </a:solidFill>
              <a:prstDash val="solid"/>
              <a:round/>
            </a:ln>
          </a:top>
          <a:bottom>
            <a:ln w="254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4F4F4"/>
          </a:solidFill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333333"/>
              </a:solidFill>
              <a:prstDash val="solid"/>
              <a:round/>
            </a:ln>
          </a:top>
          <a:bottom>
            <a:ln w="254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CCCCCC"/>
          </a:solidFill>
        </a:fill>
      </a:tcStyle>
    </a:wholeTbl>
    <a:band2H>
      <a:tcTxStyle/>
      <a:tcStyle>
        <a:tcBdr/>
        <a:fill>
          <a:solidFill>
            <a:srgbClr val="E7E7E7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333333"/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38100" cap="flat">
              <a:solidFill>
                <a:srgbClr val="F4F4F4"/>
              </a:solidFill>
              <a:prstDash val="solid"/>
              <a:round/>
            </a:ln>
          </a:top>
          <a:bottom>
            <a:ln w="127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333333"/>
          </a:solidFill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F4F4F4"/>
      </a:tcTxStyle>
      <a:tcStyle>
        <a:tcBdr>
          <a:left>
            <a:ln w="12700" cap="flat">
              <a:solidFill>
                <a:srgbClr val="F4F4F4"/>
              </a:solidFill>
              <a:prstDash val="solid"/>
              <a:round/>
            </a:ln>
          </a:left>
          <a:right>
            <a:ln w="12700" cap="flat">
              <a:solidFill>
                <a:srgbClr val="F4F4F4"/>
              </a:solidFill>
              <a:prstDash val="solid"/>
              <a:round/>
            </a:ln>
          </a:right>
          <a:top>
            <a:ln w="12700" cap="flat">
              <a:solidFill>
                <a:srgbClr val="F4F4F4"/>
              </a:solidFill>
              <a:prstDash val="solid"/>
              <a:round/>
            </a:ln>
          </a:top>
          <a:bottom>
            <a:ln w="38100" cap="flat">
              <a:solidFill>
                <a:srgbClr val="F4F4F4"/>
              </a:solidFill>
              <a:prstDash val="solid"/>
              <a:round/>
            </a:ln>
          </a:bottom>
          <a:insideH>
            <a:ln w="12700" cap="flat">
              <a:solidFill>
                <a:srgbClr val="F4F4F4"/>
              </a:solidFill>
              <a:prstDash val="solid"/>
              <a:round/>
            </a:ln>
          </a:insideH>
          <a:insideV>
            <a:ln w="12700" cap="flat">
              <a:solidFill>
                <a:srgbClr val="F4F4F4"/>
              </a:solidFill>
              <a:prstDash val="solid"/>
              <a:round/>
            </a:ln>
          </a:insideV>
        </a:tcBdr>
        <a:fill>
          <a:solidFill>
            <a:srgbClr val="333333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Lato Regular"/>
          <a:ea typeface="Lato Regular"/>
          <a:cs typeface="Lato Regular"/>
        </a:font>
        <a:srgbClr val="333333"/>
      </a:tcTxStyle>
      <a:tcStyle>
        <a:tcBdr>
          <a:left>
            <a:ln w="12700" cap="flat">
              <a:solidFill>
                <a:srgbClr val="333333"/>
              </a:solidFill>
              <a:prstDash val="solid"/>
              <a:round/>
            </a:ln>
          </a:left>
          <a:right>
            <a:ln w="12700" cap="flat">
              <a:solidFill>
                <a:srgbClr val="333333"/>
              </a:solidFill>
              <a:prstDash val="solid"/>
              <a:round/>
            </a:ln>
          </a:right>
          <a:top>
            <a:ln w="12700" cap="flat">
              <a:solidFill>
                <a:srgbClr val="333333"/>
              </a:solidFill>
              <a:prstDash val="solid"/>
              <a:round/>
            </a:ln>
          </a:top>
          <a:bottom>
            <a:ln w="127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solidFill>
                <a:srgbClr val="333333"/>
              </a:solidFill>
              <a:prstDash val="solid"/>
              <a:round/>
            </a:ln>
          </a:insideH>
          <a:insideV>
            <a:ln w="12700" cap="flat">
              <a:solidFill>
                <a:srgbClr val="333333"/>
              </a:solidFill>
              <a:prstDash val="solid"/>
              <a:round/>
            </a:ln>
          </a:insideV>
        </a:tcBdr>
        <a:fill>
          <a:solidFill>
            <a:srgbClr val="333333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Lato Bold"/>
          <a:ea typeface="Lato Bold"/>
          <a:cs typeface="Lato Bold"/>
        </a:font>
        <a:srgbClr val="333333"/>
      </a:tcTxStyle>
      <a:tcStyle>
        <a:tcBdr>
          <a:left>
            <a:ln w="12700" cap="flat">
              <a:solidFill>
                <a:srgbClr val="333333"/>
              </a:solidFill>
              <a:prstDash val="solid"/>
              <a:round/>
            </a:ln>
          </a:left>
          <a:right>
            <a:ln w="12700" cap="flat">
              <a:solidFill>
                <a:srgbClr val="333333"/>
              </a:solidFill>
              <a:prstDash val="solid"/>
              <a:round/>
            </a:ln>
          </a:right>
          <a:top>
            <a:ln w="12700" cap="flat">
              <a:solidFill>
                <a:srgbClr val="333333"/>
              </a:solidFill>
              <a:prstDash val="solid"/>
              <a:round/>
            </a:ln>
          </a:top>
          <a:bottom>
            <a:ln w="127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solidFill>
                <a:srgbClr val="333333"/>
              </a:solidFill>
              <a:prstDash val="solid"/>
              <a:round/>
            </a:ln>
          </a:insideH>
          <a:insideV>
            <a:ln w="12700" cap="flat">
              <a:solidFill>
                <a:srgbClr val="333333"/>
              </a:solidFill>
              <a:prstDash val="solid"/>
              <a:round/>
            </a:ln>
          </a:insideV>
        </a:tcBdr>
        <a:fill>
          <a:solidFill>
            <a:srgbClr val="333333">
              <a:alpha val="20000"/>
            </a:srgbClr>
          </a:solidFill>
        </a:fill>
      </a:tcStyle>
    </a:firstCol>
    <a:lastRow>
      <a:tcTxStyle b="on" i="off">
        <a:font>
          <a:latin typeface="Lato Bold"/>
          <a:ea typeface="Lato Bold"/>
          <a:cs typeface="Lato Bold"/>
        </a:font>
        <a:srgbClr val="333333"/>
      </a:tcTxStyle>
      <a:tcStyle>
        <a:tcBdr>
          <a:left>
            <a:ln w="12700" cap="flat">
              <a:solidFill>
                <a:srgbClr val="333333"/>
              </a:solidFill>
              <a:prstDash val="solid"/>
              <a:round/>
            </a:ln>
          </a:left>
          <a:right>
            <a:ln w="12700" cap="flat">
              <a:solidFill>
                <a:srgbClr val="333333"/>
              </a:solidFill>
              <a:prstDash val="solid"/>
              <a:round/>
            </a:ln>
          </a:right>
          <a:top>
            <a:ln w="50800" cap="flat">
              <a:solidFill>
                <a:srgbClr val="333333"/>
              </a:solidFill>
              <a:prstDash val="solid"/>
              <a:round/>
            </a:ln>
          </a:top>
          <a:bottom>
            <a:ln w="127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solidFill>
                <a:srgbClr val="333333"/>
              </a:solidFill>
              <a:prstDash val="solid"/>
              <a:round/>
            </a:ln>
          </a:insideH>
          <a:insideV>
            <a:ln w="12700" cap="flat">
              <a:solidFill>
                <a:srgbClr val="333333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Lato Bold"/>
          <a:ea typeface="Lato Bold"/>
          <a:cs typeface="Lato Bold"/>
        </a:font>
        <a:srgbClr val="333333"/>
      </a:tcTxStyle>
      <a:tcStyle>
        <a:tcBdr>
          <a:left>
            <a:ln w="12700" cap="flat">
              <a:solidFill>
                <a:srgbClr val="333333"/>
              </a:solidFill>
              <a:prstDash val="solid"/>
              <a:round/>
            </a:ln>
          </a:left>
          <a:right>
            <a:ln w="12700" cap="flat">
              <a:solidFill>
                <a:srgbClr val="333333"/>
              </a:solidFill>
              <a:prstDash val="solid"/>
              <a:round/>
            </a:ln>
          </a:right>
          <a:top>
            <a:ln w="12700" cap="flat">
              <a:solidFill>
                <a:srgbClr val="333333"/>
              </a:solidFill>
              <a:prstDash val="solid"/>
              <a:round/>
            </a:ln>
          </a:top>
          <a:bottom>
            <a:ln w="25400" cap="flat">
              <a:solidFill>
                <a:srgbClr val="333333"/>
              </a:solidFill>
              <a:prstDash val="solid"/>
              <a:round/>
            </a:ln>
          </a:bottom>
          <a:insideH>
            <a:ln w="12700" cap="flat">
              <a:solidFill>
                <a:srgbClr val="333333"/>
              </a:solidFill>
              <a:prstDash val="solid"/>
              <a:round/>
            </a:ln>
          </a:insideH>
          <a:insideV>
            <a:ln w="12700" cap="flat">
              <a:solidFill>
                <a:srgbClr val="333333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02" autoAdjust="0"/>
    <p:restoredTop sz="96327" autoAdjust="0"/>
  </p:normalViewPr>
  <p:slideViewPr>
    <p:cSldViewPr snapToObjects="1">
      <p:cViewPr varScale="1">
        <p:scale>
          <a:sx n="112" d="100"/>
          <a:sy n="112" d="100"/>
        </p:scale>
        <p:origin x="102" y="186"/>
      </p:cViewPr>
      <p:guideLst>
        <p:guide orient="horz" pos="1620"/>
        <p:guide pos="2880"/>
        <p:guide orient="horz" pos="97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542"/>
    </p:cViewPr>
  </p:sorterViewPr>
  <p:notesViewPr>
    <p:cSldViewPr snapToObjects="1" showGuides="1">
      <p:cViewPr varScale="1">
        <p:scale>
          <a:sx n="48" d="100"/>
          <a:sy n="48" d="100"/>
        </p:scale>
        <p:origin x="3024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75D54-1C8A-B64F-98BA-AFCC503D441B}" type="datetimeFigureOut">
              <a:rPr lang="en-US" smtClean="0">
                <a:latin typeface="Calibri" panose="020F0502020204030204" pitchFamily="34" charset="0"/>
              </a:rPr>
              <a:pPr/>
              <a:t>12/22/2022</a:t>
            </a:fld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3EE25C-2A04-5045-8570-040891481138}" type="slidenum">
              <a:rPr lang="en-US" smtClean="0">
                <a:latin typeface="Calibri" panose="020F0502020204030204" pitchFamily="34" charset="0"/>
              </a:rPr>
              <a:pPr/>
              <a:t>‹#›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5163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Shape 25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252" name="Shape 252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3414709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450">
        <a:latin typeface="+mn-lt"/>
        <a:ea typeface="+mn-ea"/>
        <a:cs typeface="+mn-cs"/>
        <a:sym typeface="Aleo"/>
      </a:defRPr>
    </a:lvl1pPr>
    <a:lvl2pPr indent="85723" latinLnBrk="0">
      <a:defRPr sz="450">
        <a:latin typeface="+mn-lt"/>
        <a:ea typeface="+mn-ea"/>
        <a:cs typeface="+mn-cs"/>
        <a:sym typeface="Aleo"/>
      </a:defRPr>
    </a:lvl2pPr>
    <a:lvl3pPr indent="171446" latinLnBrk="0">
      <a:defRPr sz="450">
        <a:latin typeface="+mn-lt"/>
        <a:ea typeface="+mn-ea"/>
        <a:cs typeface="+mn-cs"/>
        <a:sym typeface="Aleo"/>
      </a:defRPr>
    </a:lvl3pPr>
    <a:lvl4pPr indent="257169" latinLnBrk="0">
      <a:defRPr sz="450">
        <a:latin typeface="+mn-lt"/>
        <a:ea typeface="+mn-ea"/>
        <a:cs typeface="+mn-cs"/>
        <a:sym typeface="Aleo"/>
      </a:defRPr>
    </a:lvl4pPr>
    <a:lvl5pPr indent="342892" latinLnBrk="0">
      <a:defRPr sz="450">
        <a:latin typeface="+mn-lt"/>
        <a:ea typeface="+mn-ea"/>
        <a:cs typeface="+mn-cs"/>
        <a:sym typeface="Aleo"/>
      </a:defRPr>
    </a:lvl5pPr>
    <a:lvl6pPr indent="428615" latinLnBrk="0">
      <a:defRPr sz="450">
        <a:latin typeface="+mn-lt"/>
        <a:ea typeface="+mn-ea"/>
        <a:cs typeface="+mn-cs"/>
        <a:sym typeface="Aleo"/>
      </a:defRPr>
    </a:lvl6pPr>
    <a:lvl7pPr indent="514337" latinLnBrk="0">
      <a:defRPr sz="450">
        <a:latin typeface="+mn-lt"/>
        <a:ea typeface="+mn-ea"/>
        <a:cs typeface="+mn-cs"/>
        <a:sym typeface="Aleo"/>
      </a:defRPr>
    </a:lvl7pPr>
    <a:lvl8pPr indent="600060" latinLnBrk="0">
      <a:defRPr sz="450">
        <a:latin typeface="+mn-lt"/>
        <a:ea typeface="+mn-ea"/>
        <a:cs typeface="+mn-cs"/>
        <a:sym typeface="Aleo"/>
      </a:defRPr>
    </a:lvl8pPr>
    <a:lvl9pPr indent="685783" latinLnBrk="0">
      <a:defRPr sz="450">
        <a:latin typeface="+mn-lt"/>
        <a:ea typeface="+mn-ea"/>
        <a:cs typeface="+mn-cs"/>
        <a:sym typeface="Aleo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140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288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13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653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221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Διαφάνεια τίτλου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Υπότιτλος 2"/>
          <p:cNvSpPr txBox="1">
            <a:spLocks/>
          </p:cNvSpPr>
          <p:nvPr userDrawn="1"/>
        </p:nvSpPr>
        <p:spPr>
          <a:xfrm>
            <a:off x="1403648" y="3723878"/>
            <a:ext cx="6400800" cy="59320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b="1" kern="1200">
                <a:solidFill>
                  <a:srgbClr val="008BCD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l-GR" dirty="0"/>
          </a:p>
        </p:txBody>
      </p:sp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9D8F7580-0287-84D8-C3E9-71994FA4DF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43873"/>
            <a:ext cx="1531888" cy="482545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6EC04AB1-6CD9-6620-8BAE-A46A62D8B2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627"/>
          <a:stretch/>
        </p:blipFill>
        <p:spPr>
          <a:xfrm>
            <a:off x="0" y="2006680"/>
            <a:ext cx="9144000" cy="31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3447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5641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6318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1227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066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770987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259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60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368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073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296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614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D035F2D0-EC80-4EF9-B228-07372C2F67C5}" type="datetimeFigureOut">
              <a:rPr lang="en-US" smtClean="0"/>
              <a:t>12/2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5D16585D-A465-499E-AC99-6E2E59AEBE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383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B3A9CAB-5418-D1D6-7360-4327599B157F}"/>
              </a:ext>
            </a:extLst>
          </p:cNvPr>
          <p:cNvCxnSpPr>
            <a:cxnSpLocks/>
          </p:cNvCxnSpPr>
          <p:nvPr userDrawn="1"/>
        </p:nvCxnSpPr>
        <p:spPr>
          <a:xfrm>
            <a:off x="395764" y="4659982"/>
            <a:ext cx="8352472" cy="0"/>
          </a:xfrm>
          <a:prstGeom prst="line">
            <a:avLst/>
          </a:prstGeom>
          <a:noFill/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2FC0B82F-2626-E261-EC75-7EB441369D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64" y="4803998"/>
            <a:ext cx="1583951" cy="148961"/>
          </a:xfrm>
          <a:prstGeom prst="rect">
            <a:avLst/>
          </a:prstGeom>
          <a:noFill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F24B49-65D6-2F65-F70D-933547A5E9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4834349"/>
            <a:ext cx="1079892" cy="8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62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ransition spd="med"/>
  <p:txStyles>
    <p:titleStyle>
      <a:lvl1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Lato Regular"/>
        </a:defRPr>
      </a:lvl1pPr>
      <a:lvl2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2pPr>
      <a:lvl3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3pPr>
      <a:lvl4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4pPr>
      <a:lvl5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5pPr>
      <a:lvl6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6pPr>
      <a:lvl7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7pPr>
      <a:lvl8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8pPr>
      <a:lvl9pPr marL="0" marR="0" indent="0" algn="l" defTabSz="68575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9pPr>
    </p:titleStyle>
    <p:bodyStyle>
      <a:lvl1pPr marL="0" marR="0" indent="0" algn="l" defTabSz="685758" rtl="0" eaLnBrk="1" fontAlgn="auto" latinLnBrk="0" hangingPunct="1">
        <a:lnSpc>
          <a:spcPct val="100000"/>
        </a:lnSpc>
        <a:spcBef>
          <a:spcPts val="384"/>
        </a:spcBef>
        <a:spcAft>
          <a:spcPts val="0"/>
        </a:spcAft>
        <a:buClrTx/>
        <a:buSzPct val="100000"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Lato Regular"/>
        </a:defRPr>
      </a:lvl1pPr>
      <a:lvl2pPr marL="363538" marR="0" indent="-18732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Blip>
          <a:blip r:embed="rId9"/>
        </a:buBlip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Lato Regular"/>
        </a:defRPr>
      </a:lvl2pPr>
      <a:lvl3pPr marL="361950" marR="0" indent="0" algn="l" defTabSz="685758" rtl="0" eaLnBrk="1" fontAlgn="auto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008BCD"/>
        </a:buClr>
        <a:buSzPct val="100000"/>
        <a:buFont typeface="Symbol" panose="05050102010706020507" pitchFamily="18" charset="2"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Lato Regular"/>
        </a:defRPr>
      </a:lvl3pPr>
      <a:lvl4pPr marL="715963" marR="0" indent="-179388" algn="l" defTabSz="685758" rtl="0" eaLnBrk="1" fontAlgn="auto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008BCD"/>
        </a:buClr>
        <a:buSzPct val="100000"/>
        <a:buFont typeface="Arial"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  <a:sym typeface="Lato Regular"/>
        </a:defRPr>
      </a:lvl4pPr>
      <a:lvl5pPr marL="828000" marR="0" indent="-180000" algn="l" defTabSz="685758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0098DA"/>
        </a:buClr>
        <a:buSzPct val="100000"/>
        <a:buFont typeface="Symbol" panose="05050102010706020507" pitchFamily="18" charset="2"/>
        <a:buChar char="-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Lato Regular"/>
          <a:cs typeface="Lato Regular"/>
          <a:sym typeface="Lato Regular"/>
        </a:defRPr>
      </a:lvl5pPr>
      <a:lvl6pPr marL="1981077" marR="0" indent="-266684" algn="l" defTabSz="685758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6pPr>
      <a:lvl7pPr marL="2323955" marR="0" indent="-266684" algn="l" defTabSz="685758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7pPr>
      <a:lvl8pPr marL="2666834" marR="0" indent="-266684" algn="l" defTabSz="685758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8pPr>
      <a:lvl9pPr marL="3009713" marR="0" indent="-266684" algn="l" defTabSz="685758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333333"/>
          </a:solidFill>
          <a:uFillTx/>
          <a:latin typeface="Lato Regular"/>
          <a:ea typeface="Lato Regular"/>
          <a:cs typeface="Lato Regular"/>
          <a:sym typeface="Lato Regular"/>
        </a:defRPr>
      </a:lvl9pPr>
    </p:bodyStyle>
    <p:otherStyle>
      <a:lvl1pPr marL="0" marR="0" indent="0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1pPr>
      <a:lvl2pPr marL="0" marR="0" indent="342878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2pPr>
      <a:lvl3pPr marL="0" marR="0" indent="685758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3pPr>
      <a:lvl4pPr marL="0" marR="0" indent="1028635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4pPr>
      <a:lvl5pPr marL="0" marR="0" indent="1371515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5pPr>
      <a:lvl6pPr marL="0" marR="0" indent="1714394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6pPr>
      <a:lvl7pPr marL="0" marR="0" indent="2057272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7pPr>
      <a:lvl8pPr marL="0" marR="0" indent="2400150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8pPr>
      <a:lvl9pPr marL="0" marR="0" indent="2743030" algn="r" defTabSz="685758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Regular"/>
        </a:defRPr>
      </a:lvl9pPr>
    </p:otherStyle>
  </p:txStyles>
  <p:extLst>
    <p:ext uri="{27BBF7A9-308A-43DC-89C8-2F10F3537804}">
      <p15:sldGuideLst xmlns:p15="http://schemas.microsoft.com/office/powerpoint/2012/main">
        <p15:guide id="2" pos="291">
          <p15:clr>
            <a:srgbClr val="F26B43"/>
          </p15:clr>
        </p15:guide>
        <p15:guide id="3" pos="5475">
          <p15:clr>
            <a:srgbClr val="F26B43"/>
          </p15:clr>
        </p15:guide>
        <p15:guide id="4" orient="horz" pos="14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 txBox="1">
            <a:spLocks/>
          </p:cNvSpPr>
          <p:nvPr userDrawn="1"/>
        </p:nvSpPr>
        <p:spPr>
          <a:xfrm>
            <a:off x="2915816" y="1370013"/>
            <a:ext cx="5599534" cy="7696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21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jpeg"/><Relationship Id="rId7" Type="http://schemas.openxmlformats.org/officeDocument/2006/relationships/hyperlink" Target="https://bwks-uap.webex.com/start_activation?partner-org-uuid=6ec2e8f3-5f28-4f3d-a366-75cfd81ef3b6&amp;config-set-uuid=2564f451-3447-47b8-8620-99ac6bff9257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care.nova.gr/pbx/login" TargetMode="External"/><Relationship Id="rId5" Type="http://schemas.openxmlformats.org/officeDocument/2006/relationships/hyperlink" Target="https://www.wind.gr/pbx/login/" TargetMode="Externa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idx="4294967295"/>
          </p:nvPr>
        </p:nvSpPr>
        <p:spPr>
          <a:xfrm>
            <a:off x="395536" y="1995686"/>
            <a:ext cx="8136904" cy="576064"/>
          </a:xfrm>
          <a:prstGeom prst="rect">
            <a:avLst/>
          </a:prstGeom>
        </p:spPr>
        <p:txBody>
          <a:bodyPr/>
          <a:lstStyle/>
          <a:p>
            <a:r>
              <a:rPr lang="en-US" sz="4000" b="1" dirty="0">
                <a:solidFill>
                  <a:srgbClr val="060700"/>
                </a:solidFill>
              </a:rPr>
              <a:t>ONE PRO- </a:t>
            </a:r>
            <a:r>
              <a:rPr lang="el-GR" sz="32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ΣΥΝΤΟΜΕΣ ΟΔΗΓΙΕΣ </a:t>
            </a:r>
            <a:r>
              <a:rPr lang="en-US" sz="3200" b="1" dirty="0">
                <a:solidFill>
                  <a:srgbClr val="000000"/>
                </a:solidFill>
                <a:latin typeface="Calibri Light" panose="020F0302020204030204" pitchFamily="34" charset="0"/>
              </a:rPr>
              <a:t>C</a:t>
            </a:r>
            <a:r>
              <a:rPr lang="en-US" sz="32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ollaboration </a:t>
            </a:r>
            <a:r>
              <a:rPr lang="el-GR" sz="32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σε </a:t>
            </a:r>
            <a:r>
              <a:rPr lang="en-US" sz="32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Webex​</a:t>
            </a:r>
            <a:endParaRPr lang="en-US" sz="4000" b="1" dirty="0">
              <a:solidFill>
                <a:srgbClr val="0607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390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5486"/>
            <a:ext cx="9252520" cy="660640"/>
          </a:xfrm>
          <a:prstGeom prst="rect">
            <a:avLst/>
          </a:prstGeom>
        </p:spPr>
        <p:txBody>
          <a:bodyPr/>
          <a:lstStyle/>
          <a:p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Οδηγίες αναβάθμισης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/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ενεργοποίησης</a:t>
            </a:r>
            <a:r>
              <a:rPr lang="en-US" sz="2000" b="1" dirty="0">
                <a:solidFill>
                  <a:srgbClr val="121212"/>
                </a:solidFill>
              </a:rPr>
              <a:t> 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υπηρεσίας 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collaboration 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 Webex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2C6D50C5-BB07-88D1-5A0A-DB3846808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72" y="3003798"/>
            <a:ext cx="2091738" cy="161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592715B0-9B37-E908-CCA4-C3252FF0B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210" y="3136464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FE53208-A422-DBF4-D6AB-F187A74B8E88}"/>
              </a:ext>
            </a:extLst>
          </p:cNvPr>
          <p:cNvSpPr/>
          <p:nvPr/>
        </p:nvSpPr>
        <p:spPr>
          <a:xfrm>
            <a:off x="331940" y="794173"/>
            <a:ext cx="2968085" cy="161238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Θα πρέπει να γνωρίζετε τον κωδικό της υπηρεσίας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ONE Pro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που έχετε ήδη.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algn="just"/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algn="just"/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Σε περίπτωση που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είστε ήδη χρήστης του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ONE Pro app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μπορείτε να μεταβείτε στο επόμενο στάδιο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(2)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ενεργοποίησης του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Webex</a:t>
            </a:r>
          </a:p>
          <a:p>
            <a:pPr algn="just"/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Σε περίπτωση που δεν θυμάστε τον κωδικό μπορείτε με το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sername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που έχετε λάβει σε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mail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κατά την ενεργοποίηση σας να κάνετε αλλαγή κωδικού στο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hlinkClick r:id="rId5"/>
              </a:rPr>
              <a:t>link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</a:p>
          <a:p>
            <a:pPr algn="just"/>
            <a:endParaRPr lang="el-GR" sz="70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algn="just"/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Αν είστε νέος χρήστης με τα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redentials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που έχετε ήδη παραλάβει μέσω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MS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και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-mail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θα πρέπει να μεταβείτε στο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της υπηρεσίας για να κάνετε το 1</a:t>
            </a:r>
            <a:r>
              <a:rPr lang="el-GR" sz="700" baseline="300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ο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login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και να αλλάξετε το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assword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με ένα δικό σας.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8D03F3-1D1E-7A5C-91BB-2137CB0FE265}"/>
              </a:ext>
            </a:extLst>
          </p:cNvPr>
          <p:cNvSpPr/>
          <p:nvPr/>
        </p:nvSpPr>
        <p:spPr>
          <a:xfrm>
            <a:off x="868796" y="2428641"/>
            <a:ext cx="2297178" cy="46296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Πατήστε στο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  <a:hlinkClick r:id="rId7"/>
              </a:rPr>
              <a:t>link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el-GR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ενεργοποίησης της υπηρεσίας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Webex</a:t>
            </a:r>
            <a:endParaRPr lang="en-US" sz="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2DC3A6-47BD-F914-3304-856D9A27F0CD}"/>
              </a:ext>
            </a:extLst>
          </p:cNvPr>
          <p:cNvSpPr/>
          <p:nvPr/>
        </p:nvSpPr>
        <p:spPr>
          <a:xfrm>
            <a:off x="1403648" y="4109040"/>
            <a:ext cx="579021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l-GR" sz="600" dirty="0">
              <a:solidFill>
                <a:srgbClr val="0C00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9A69D38-773B-3200-3500-0EA7E7169710}"/>
              </a:ext>
            </a:extLst>
          </p:cNvPr>
          <p:cNvSpPr/>
          <p:nvPr/>
        </p:nvSpPr>
        <p:spPr>
          <a:xfrm>
            <a:off x="654974" y="4029266"/>
            <a:ext cx="1693333" cy="79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l-GR" sz="600" dirty="0">
              <a:solidFill>
                <a:srgbClr val="0C00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1B3371B9-7E31-076F-EF7F-2CED2BB79294}"/>
              </a:ext>
            </a:extLst>
          </p:cNvPr>
          <p:cNvSpPr txBox="1"/>
          <p:nvPr/>
        </p:nvSpPr>
        <p:spPr>
          <a:xfrm>
            <a:off x="3706237" y="1330016"/>
            <a:ext cx="2130540" cy="3277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ισάγετε ως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username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και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password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, αυτά τα οποία έχετε ήδη για τ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One Pro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(από τ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1o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 βήμα)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48F23D79-83B4-CD3B-651D-AB0307F63AB8}"/>
              </a:ext>
            </a:extLst>
          </p:cNvPr>
          <p:cNvSpPr txBox="1"/>
          <p:nvPr/>
        </p:nvSpPr>
        <p:spPr>
          <a:xfrm>
            <a:off x="6408997" y="1384882"/>
            <a:ext cx="24627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ισάγετε ένα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-mail. </a:t>
            </a:r>
            <a:endParaRPr lang="el-GR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To e-mail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αυτό δεν πρέπει να χρησιμοποιείται σε άλλ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Webex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λογαριασμό.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1721A0-A4A8-0378-CE12-688DDFAA24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13976" y="1925820"/>
            <a:ext cx="4875050" cy="269035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6A93A8C-BDD9-4C9C-15B6-DD6907B2E859}"/>
              </a:ext>
            </a:extLst>
          </p:cNvPr>
          <p:cNvSpPr/>
          <p:nvPr/>
        </p:nvSpPr>
        <p:spPr>
          <a:xfrm>
            <a:off x="7164288" y="873848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l-GR" sz="1400" dirty="0">
                <a:solidFill>
                  <a:schemeClr val="bg1"/>
                </a:solidFill>
                <a:latin typeface="+mn-lt"/>
                <a:ea typeface="Lato Regular"/>
                <a:cs typeface="Lato Regular"/>
                <a:sym typeface="Lato Regular"/>
              </a:rPr>
              <a:t>4</a:t>
            </a:r>
            <a:endParaRPr kumimoji="0" lang="el-G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Lato Regular"/>
              <a:cs typeface="Lato Regular"/>
              <a:sym typeface="Lato Regular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9466741-70C8-EAFC-64CC-47EC4AABFAB8}"/>
              </a:ext>
            </a:extLst>
          </p:cNvPr>
          <p:cNvSpPr/>
          <p:nvPr/>
        </p:nvSpPr>
        <p:spPr>
          <a:xfrm>
            <a:off x="38986" y="53611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7A0DAA8-81E7-11BC-0AEF-C6DEA1BDE185}"/>
              </a:ext>
            </a:extLst>
          </p:cNvPr>
          <p:cNvSpPr/>
          <p:nvPr/>
        </p:nvSpPr>
        <p:spPr>
          <a:xfrm>
            <a:off x="110820" y="2555738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l-GR" sz="1400" dirty="0">
                <a:solidFill>
                  <a:schemeClr val="bg1"/>
                </a:solidFill>
                <a:latin typeface="+mn-lt"/>
                <a:ea typeface="Lato Regular"/>
                <a:cs typeface="Lato Regular"/>
                <a:sym typeface="Lato Regular"/>
              </a:rPr>
              <a:t>2</a:t>
            </a:r>
            <a:endParaRPr kumimoji="0" lang="el-G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Lato Regular"/>
              <a:cs typeface="Lato Regular"/>
              <a:sym typeface="Lato Regular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C88B9A-709A-AD07-7360-B07167DE87CD}"/>
              </a:ext>
            </a:extLst>
          </p:cNvPr>
          <p:cNvSpPr/>
          <p:nvPr/>
        </p:nvSpPr>
        <p:spPr>
          <a:xfrm>
            <a:off x="4401517" y="870130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l-GR" sz="1400" dirty="0">
                <a:solidFill>
                  <a:schemeClr val="bg1"/>
                </a:solidFill>
                <a:latin typeface="+mn-lt"/>
                <a:ea typeface="Lato Regular"/>
                <a:cs typeface="Lato Regular"/>
                <a:sym typeface="Lato Regular"/>
              </a:rPr>
              <a:t>3</a:t>
            </a:r>
            <a:endParaRPr kumimoji="0" lang="el-G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Lato Regular"/>
              <a:cs typeface="Lato Regular"/>
              <a:sym typeface="La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235770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5486"/>
            <a:ext cx="9252520" cy="660640"/>
          </a:xfrm>
          <a:prstGeom prst="rect">
            <a:avLst/>
          </a:prstGeom>
        </p:spPr>
        <p:txBody>
          <a:bodyPr/>
          <a:lstStyle/>
          <a:p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Οδηγίες αναβάθμισης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/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ενεργοποίησης</a:t>
            </a:r>
            <a:r>
              <a:rPr lang="en-US" sz="2000" b="1" dirty="0">
                <a:solidFill>
                  <a:srgbClr val="121212"/>
                </a:solidFill>
              </a:rPr>
              <a:t> 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υπηρεσίας 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collaboration 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 Webex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F15D3A55-94C4-F086-111E-65D0F7A34B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55" y="2139702"/>
            <a:ext cx="1930503" cy="250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>
            <a:extLst>
              <a:ext uri="{FF2B5EF4-FFF2-40B4-BE49-F238E27FC236}">
                <a16:creationId xmlns:a16="http://schemas.microsoft.com/office/drawing/2014/main" id="{D7810942-14F2-B6FF-286A-1172A7A16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1" y="2139702"/>
            <a:ext cx="2072031" cy="2517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>
            <a:extLst>
              <a:ext uri="{FF2B5EF4-FFF2-40B4-BE49-F238E27FC236}">
                <a16:creationId xmlns:a16="http://schemas.microsoft.com/office/drawing/2014/main" id="{39670FD4-791B-65AC-676E-A25AFA28A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326" y="2093952"/>
            <a:ext cx="2072031" cy="249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>
            <a:extLst>
              <a:ext uri="{FF2B5EF4-FFF2-40B4-BE49-F238E27FC236}">
                <a16:creationId xmlns:a16="http://schemas.microsoft.com/office/drawing/2014/main" id="{01B73181-2740-0AC5-5E64-B2A317832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1350" y="2128252"/>
            <a:ext cx="2172644" cy="250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A54E8487-78C4-B662-B1F1-CC53765E9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65" y="2283718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592715B0-9B37-E908-CCA4-C3252FF0B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917" y="2262665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>
            <a:extLst>
              <a:ext uri="{FF2B5EF4-FFF2-40B4-BE49-F238E27FC236}">
                <a16:creationId xmlns:a16="http://schemas.microsoft.com/office/drawing/2014/main" id="{3C3105A9-1416-2296-074F-93B4851CE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160" y="2262665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4">
            <a:extLst>
              <a:ext uri="{FF2B5EF4-FFF2-40B4-BE49-F238E27FC236}">
                <a16:creationId xmlns:a16="http://schemas.microsoft.com/office/drawing/2014/main" id="{B0C9C9A1-96FD-F5B0-4CA0-61CBFECB8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187" y="2307053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1">
            <a:extLst>
              <a:ext uri="{FF2B5EF4-FFF2-40B4-BE49-F238E27FC236}">
                <a16:creationId xmlns:a16="http://schemas.microsoft.com/office/drawing/2014/main" id="{B1EC81B9-B6A8-3AEE-5AE3-DFA54996C170}"/>
              </a:ext>
            </a:extLst>
          </p:cNvPr>
          <p:cNvSpPr txBox="1"/>
          <p:nvPr/>
        </p:nvSpPr>
        <p:spPr>
          <a:xfrm>
            <a:off x="183348" y="1629782"/>
            <a:ext cx="19032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Θα λάβετε ένα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-mail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πιβεβαίωσης 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7F635CA5-FF74-CC2A-B85F-ADDB53698ACF}"/>
              </a:ext>
            </a:extLst>
          </p:cNvPr>
          <p:cNvSpPr txBox="1"/>
          <p:nvPr/>
        </p:nvSpPr>
        <p:spPr>
          <a:xfrm>
            <a:off x="2564934" y="1577937"/>
            <a:ext cx="1566775" cy="450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Ανατρέξτε στ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-mail account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που έχετε δηλώσει και ανοίξτε το αντίστοιχο 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-mail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της υπηρεσίας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1F43BC5A-07FF-6D93-71C2-DFBD97FCEF33}"/>
              </a:ext>
            </a:extLst>
          </p:cNvPr>
          <p:cNvSpPr txBox="1"/>
          <p:nvPr/>
        </p:nvSpPr>
        <p:spPr>
          <a:xfrm>
            <a:off x="4741087" y="1672019"/>
            <a:ext cx="180850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mail Verification.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πιλέξτε «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Join now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BC83ABB9-F424-DA3B-ECA7-6259C5614A92}"/>
              </a:ext>
            </a:extLst>
          </p:cNvPr>
          <p:cNvSpPr txBox="1"/>
          <p:nvPr/>
        </p:nvSpPr>
        <p:spPr>
          <a:xfrm>
            <a:off x="6849279" y="1672401"/>
            <a:ext cx="210987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πιλέξτε το </a:t>
            </a:r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application/client </a:t>
            </a:r>
            <a:r>
              <a:rPr lang="el-GR" sz="700">
                <a:latin typeface="Arial" panose="020B0604020202020204" pitchFamily="34" charset="0"/>
                <a:cs typeface="Arial" panose="020B0604020202020204" pitchFamily="34" charset="0"/>
              </a:rPr>
              <a:t>που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πιθυμείτε 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AE08279-18BC-3880-6E44-F111DF20FE7F}"/>
              </a:ext>
            </a:extLst>
          </p:cNvPr>
          <p:cNvSpPr/>
          <p:nvPr/>
        </p:nvSpPr>
        <p:spPr>
          <a:xfrm>
            <a:off x="792027" y="98399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01CD75D-F5FA-63E5-75C9-456B449E9096}"/>
              </a:ext>
            </a:extLst>
          </p:cNvPr>
          <p:cNvSpPr/>
          <p:nvPr/>
        </p:nvSpPr>
        <p:spPr>
          <a:xfrm>
            <a:off x="2989119" y="989976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362669D-B48F-06EE-871E-E883FFFB9C11}"/>
              </a:ext>
            </a:extLst>
          </p:cNvPr>
          <p:cNvSpPr/>
          <p:nvPr/>
        </p:nvSpPr>
        <p:spPr>
          <a:xfrm>
            <a:off x="5349550" y="97805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7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D6668E0-A088-2828-1FA4-C5198919E235}"/>
              </a:ext>
            </a:extLst>
          </p:cNvPr>
          <p:cNvSpPr/>
          <p:nvPr/>
        </p:nvSpPr>
        <p:spPr>
          <a:xfrm>
            <a:off x="7546642" y="97805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3824953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5486"/>
            <a:ext cx="9252520" cy="660640"/>
          </a:xfrm>
          <a:prstGeom prst="rect">
            <a:avLst/>
          </a:prstGeom>
        </p:spPr>
        <p:txBody>
          <a:bodyPr/>
          <a:lstStyle/>
          <a:p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Οδηγίες αναβάθμισης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/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ενεργοποίησης</a:t>
            </a:r>
            <a:r>
              <a:rPr lang="en-US" sz="2000" b="1" dirty="0">
                <a:solidFill>
                  <a:srgbClr val="121212"/>
                </a:solidFill>
              </a:rPr>
              <a:t> 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υπηρεσίας 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collaboration 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 Webex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301D018C-535A-9B31-9FE1-A082C7F75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918" y="2110420"/>
            <a:ext cx="1523777" cy="1829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>
            <a:extLst>
              <a:ext uri="{FF2B5EF4-FFF2-40B4-BE49-F238E27FC236}">
                <a16:creationId xmlns:a16="http://schemas.microsoft.com/office/drawing/2014/main" id="{0B777E59-C2BE-9CBB-85B0-F061BD1AA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918" y="2107002"/>
            <a:ext cx="2045123" cy="249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>
            <a:extLst>
              <a:ext uri="{FF2B5EF4-FFF2-40B4-BE49-F238E27FC236}">
                <a16:creationId xmlns:a16="http://schemas.microsoft.com/office/drawing/2014/main" id="{4F9CED13-AF78-5E82-BEA2-778E447B5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260" y="2080260"/>
            <a:ext cx="2045123" cy="252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A54E8487-78C4-B662-B1F1-CC53765E9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107" y="2687967"/>
            <a:ext cx="71840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>
            <a:extLst>
              <a:ext uri="{FF2B5EF4-FFF2-40B4-BE49-F238E27FC236}">
                <a16:creationId xmlns:a16="http://schemas.microsoft.com/office/drawing/2014/main" id="{E835BEC9-A21A-148D-80CC-674F27A71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279" y="2080260"/>
            <a:ext cx="2026544" cy="2522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">
            <a:extLst>
              <a:ext uri="{FF2B5EF4-FFF2-40B4-BE49-F238E27FC236}">
                <a16:creationId xmlns:a16="http://schemas.microsoft.com/office/drawing/2014/main" id="{E477E497-9409-981A-6903-EDE3711B598E}"/>
              </a:ext>
            </a:extLst>
          </p:cNvPr>
          <p:cNvSpPr txBox="1"/>
          <p:nvPr/>
        </p:nvSpPr>
        <p:spPr>
          <a:xfrm>
            <a:off x="353327" y="1490855"/>
            <a:ext cx="1374510" cy="450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b="0" dirty="0">
                <a:latin typeface="Arial" panose="020B0604020202020204" pitchFamily="34" charset="0"/>
                <a:cs typeface="Arial" panose="020B0604020202020204" pitchFamily="34" charset="0"/>
              </a:rPr>
              <a:t>Προχωρήστε στην εγκατάσταση της εφαρμογής </a:t>
            </a:r>
            <a:r>
              <a:rPr lang="en-US" sz="700" b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l-GR" sz="700" b="0" dirty="0">
                <a:latin typeface="Arial" panose="020B0604020202020204" pitchFamily="34" charset="0"/>
                <a:cs typeface="Arial" panose="020B0604020202020204" pitchFamily="34" charset="0"/>
              </a:rPr>
              <a:t>κινητού ή </a:t>
            </a:r>
            <a:r>
              <a:rPr lang="en-US" sz="700" b="0" dirty="0">
                <a:latin typeface="Arial" panose="020B0604020202020204" pitchFamily="34" charset="0"/>
                <a:cs typeface="Arial" panose="020B0604020202020204" pitchFamily="34" charset="0"/>
              </a:rPr>
              <a:t>PC)</a:t>
            </a:r>
          </a:p>
        </p:txBody>
      </p:sp>
      <p:pic>
        <p:nvPicPr>
          <p:cNvPr id="12298" name="Picture 10">
            <a:extLst>
              <a:ext uri="{FF2B5EF4-FFF2-40B4-BE49-F238E27FC236}">
                <a16:creationId xmlns:a16="http://schemas.microsoft.com/office/drawing/2014/main" id="{4D7CA1F1-9258-76AD-6EC5-D0AC67D6D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919" y="4049856"/>
            <a:ext cx="1523776" cy="55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">
            <a:extLst>
              <a:ext uri="{FF2B5EF4-FFF2-40B4-BE49-F238E27FC236}">
                <a16:creationId xmlns:a16="http://schemas.microsoft.com/office/drawing/2014/main" id="{4EC30893-78F1-BB9D-C2FA-2CED449EF1DD}"/>
              </a:ext>
            </a:extLst>
          </p:cNvPr>
          <p:cNvSpPr txBox="1"/>
          <p:nvPr/>
        </p:nvSpPr>
        <p:spPr>
          <a:xfrm>
            <a:off x="2400979" y="1563638"/>
            <a:ext cx="194957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Κάντε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sign in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και εισάγετε το ίδι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e-mail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που </a:t>
            </a:r>
          </a:p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έχετε ήδη καταχωρήσει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l-GR" sz="7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">
            <a:extLst>
              <a:ext uri="{FF2B5EF4-FFF2-40B4-BE49-F238E27FC236}">
                <a16:creationId xmlns:a16="http://schemas.microsoft.com/office/drawing/2014/main" id="{E1998831-92EB-6B4D-FA17-F8BE4C79FCAF}"/>
              </a:ext>
            </a:extLst>
          </p:cNvPr>
          <p:cNvSpPr txBox="1"/>
          <p:nvPr/>
        </p:nvSpPr>
        <p:spPr>
          <a:xfrm>
            <a:off x="4572000" y="1525865"/>
            <a:ext cx="2092640" cy="450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ισάγετε ως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username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και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password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, αυτά τα οποία χρησιμοποιείτε για το υφιστάμενο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 One Pro app/Client</a:t>
            </a:r>
            <a:endParaRPr lang="en-U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98EB0BE7-97B6-ABD8-7A1A-C866AAA1C68F}"/>
              </a:ext>
            </a:extLst>
          </p:cNvPr>
          <p:cNvSpPr txBox="1"/>
          <p:nvPr/>
        </p:nvSpPr>
        <p:spPr>
          <a:xfrm>
            <a:off x="6849279" y="1560049"/>
            <a:ext cx="20788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Είστε έτοιμοι για τη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νέα εμπειρία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ONE Pro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σε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Webex </a:t>
            </a:r>
            <a:r>
              <a:rPr lang="el-GR" sz="700" dirty="0">
                <a:latin typeface="Arial" panose="020B0604020202020204" pitchFamily="34" charset="0"/>
                <a:cs typeface="Arial" panose="020B0604020202020204" pitchFamily="34" charset="0"/>
              </a:rPr>
              <a:t>περιβάλλον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BA99F64-8EB2-8261-EC1E-7C6EE94BAD56}"/>
              </a:ext>
            </a:extLst>
          </p:cNvPr>
          <p:cNvSpPr/>
          <p:nvPr/>
        </p:nvSpPr>
        <p:spPr>
          <a:xfrm>
            <a:off x="5218868" y="3088903"/>
            <a:ext cx="798903" cy="1175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0C00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1411xxxx@nova.gr</a:t>
            </a:r>
            <a:endParaRPr lang="el-GR" sz="500" dirty="0">
              <a:solidFill>
                <a:srgbClr val="0C00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B346239-67E5-C6D1-709C-4082BB643618}"/>
              </a:ext>
            </a:extLst>
          </p:cNvPr>
          <p:cNvSpPr/>
          <p:nvPr/>
        </p:nvSpPr>
        <p:spPr>
          <a:xfrm>
            <a:off x="2987824" y="98399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10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CFA298-1673-83E0-743C-C60565D47DFA}"/>
              </a:ext>
            </a:extLst>
          </p:cNvPr>
          <p:cNvSpPr/>
          <p:nvPr/>
        </p:nvSpPr>
        <p:spPr>
          <a:xfrm>
            <a:off x="5168833" y="1008293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1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4AFD860-463E-ABFC-A89B-66271F5C29AC}"/>
              </a:ext>
            </a:extLst>
          </p:cNvPr>
          <p:cNvSpPr/>
          <p:nvPr/>
        </p:nvSpPr>
        <p:spPr>
          <a:xfrm>
            <a:off x="7637808" y="98399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14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Lato Regular"/>
                <a:cs typeface="Lato Regular"/>
                <a:sym typeface="Lato Regular"/>
              </a:rPr>
              <a:t>1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9FD010-9968-AE3D-3E1D-4C9AFA49752E}"/>
              </a:ext>
            </a:extLst>
          </p:cNvPr>
          <p:cNvSpPr/>
          <p:nvPr/>
        </p:nvSpPr>
        <p:spPr>
          <a:xfrm>
            <a:off x="792027" y="983992"/>
            <a:ext cx="449486" cy="298876"/>
          </a:xfrm>
          <a:prstGeom prst="ellipse">
            <a:avLst/>
          </a:prstGeom>
          <a:solidFill>
            <a:srgbClr val="060700"/>
          </a:solidFill>
          <a:ln w="9525" cap="flat">
            <a:solidFill>
              <a:srgbClr val="060700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182870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l-GR" sz="1400" dirty="0">
                <a:solidFill>
                  <a:schemeClr val="bg1"/>
                </a:solidFill>
                <a:latin typeface="+mn-lt"/>
                <a:ea typeface="Lato Regular"/>
                <a:cs typeface="Lato Regular"/>
                <a:sym typeface="Lato Regular"/>
              </a:rPr>
              <a:t>9</a:t>
            </a:r>
            <a:endParaRPr kumimoji="0" lang="el-G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Lato Regular"/>
              <a:cs typeface="Lato Regular"/>
              <a:sym typeface="La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7488847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5486"/>
            <a:ext cx="9252520" cy="660640"/>
          </a:xfrm>
          <a:prstGeom prst="rect">
            <a:avLst/>
          </a:prstGeom>
        </p:spPr>
        <p:txBody>
          <a:bodyPr/>
          <a:lstStyle/>
          <a:p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Οδηγίες αναβάθμισης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/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ενεργοποίησης</a:t>
            </a:r>
            <a:r>
              <a:rPr lang="en-US" sz="2000" b="1" dirty="0">
                <a:solidFill>
                  <a:srgbClr val="121212"/>
                </a:solidFill>
              </a:rPr>
              <a:t> 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υπηρεσίας 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collaboration </a:t>
            </a:r>
            <a:r>
              <a:rPr lang="el-GR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lang="en-US" sz="2000" b="1" i="0" u="none" strike="noStrike" dirty="0">
                <a:solidFill>
                  <a:srgbClr val="121212"/>
                </a:solidFill>
                <a:effectLst/>
                <a:latin typeface="Arial" panose="020B0604020202020204" pitchFamily="34" charset="0"/>
              </a:rPr>
              <a:t> Webex</a:t>
            </a:r>
            <a:endParaRPr lang="en-US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D650CE-042F-9498-80B8-8A052F6156B6}"/>
              </a:ext>
            </a:extLst>
          </p:cNvPr>
          <p:cNvSpPr txBox="1"/>
          <p:nvPr/>
        </p:nvSpPr>
        <p:spPr>
          <a:xfrm>
            <a:off x="1447278" y="1948725"/>
            <a:ext cx="6357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sz="2000" b="1" dirty="0">
                <a:latin typeface="Arial" panose="020B0604020202020204" pitchFamily="34" charset="0"/>
                <a:cs typeface="Arial" panose="020B0604020202020204" pitchFamily="34" charset="0"/>
              </a:rPr>
              <a:t>ΕΙΜΑΣΤΕ ΠΑΝΤΑ ΔΙΠΛΑ ΣΟΥ ΓΙΑ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l-GR" sz="2000" b="1" dirty="0">
                <a:latin typeface="Arial" panose="020B0604020202020204" pitchFamily="34" charset="0"/>
                <a:cs typeface="Arial" panose="020B0604020202020204" pitchFamily="34" charset="0"/>
              </a:rPr>
              <a:t>ΤΙ ΧΡΕΙΑΣΤΕΙΣ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el-G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CEF6C2F5-475A-AACF-8F34-5A43BA2047E0}"/>
              </a:ext>
            </a:extLst>
          </p:cNvPr>
          <p:cNvSpPr txBox="1"/>
          <p:nvPr/>
        </p:nvSpPr>
        <p:spPr>
          <a:xfrm>
            <a:off x="2892988" y="2348835"/>
            <a:ext cx="3659012" cy="552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398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4796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219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9592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6990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4387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31785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9184" algn="l" defTabSz="694796" rtl="0" eaLnBrk="1" latinLnBrk="0" hangingPunct="1">
              <a:defRPr sz="13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l-GR" dirty="0">
                <a:latin typeface="Arial" panose="020B0604020202020204" pitchFamily="34" charset="0"/>
                <a:cs typeface="Arial" panose="020B0604020202020204" pitchFamily="34" charset="0"/>
              </a:rPr>
              <a:t>Ένας αριθμός για όλες σου τις ανάγκες 24/7</a:t>
            </a:r>
          </a:p>
          <a:p>
            <a:pPr algn="ctr"/>
            <a:r>
              <a:rPr lang="el-GR" dirty="0">
                <a:latin typeface="Arial" panose="020B0604020202020204" pitchFamily="34" charset="0"/>
                <a:cs typeface="Arial" panose="020B0604020202020204" pitchFamily="34" charset="0"/>
              </a:rPr>
              <a:t>Δωρεάν από εταιρικό σταθερό ή κινητό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va</a:t>
            </a:r>
            <a:endParaRPr lang="el-G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03788CB5-FBF5-5F2A-8888-10FD9D04A2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2348835"/>
            <a:ext cx="648072" cy="648072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9A972D5F-9A4A-CFB8-65A9-C3B9E52299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978" y="2358783"/>
            <a:ext cx="660640" cy="66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95425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2" y="4369710"/>
            <a:ext cx="9138696" cy="774259"/>
          </a:xfrm>
          <a:prstGeom prst="rect">
            <a:avLst/>
          </a:prstGeom>
        </p:spPr>
      </p:pic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3C680A01-02A8-8DF6-4DDD-FFA21E6F58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6056" y="4369710"/>
            <a:ext cx="1531888" cy="48254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A7AAC6-5A21-1025-4D13-1377DDE2D576}"/>
              </a:ext>
            </a:extLst>
          </p:cNvPr>
          <p:cNvSpPr txBox="1"/>
          <p:nvPr/>
        </p:nvSpPr>
        <p:spPr>
          <a:xfrm>
            <a:off x="2706221" y="2139741"/>
            <a:ext cx="3731558" cy="864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060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65D641E-A9C9-68AF-E35A-E51C435389D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16543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right Theme">
  <a:themeElements>
    <a:clrScheme name="Custom 13">
      <a:dk1>
        <a:srgbClr val="333333"/>
      </a:dk1>
      <a:lt1>
        <a:srgbClr val="FFFFFF"/>
      </a:lt1>
      <a:dk2>
        <a:srgbClr val="A7A7A7"/>
      </a:dk2>
      <a:lt2>
        <a:srgbClr val="535353"/>
      </a:lt2>
      <a:accent1>
        <a:srgbClr val="008BCD"/>
      </a:accent1>
      <a:accent2>
        <a:srgbClr val="004B8D"/>
      </a:accent2>
      <a:accent3>
        <a:srgbClr val="3C7CBA"/>
      </a:accent3>
      <a:accent4>
        <a:srgbClr val="4999D8"/>
      </a:accent4>
      <a:accent5>
        <a:srgbClr val="92C2E8"/>
      </a:accent5>
      <a:accent6>
        <a:srgbClr val="DBEBF7"/>
      </a:accent6>
      <a:hlink>
        <a:srgbClr val="0000FF"/>
      </a:hlink>
      <a:folHlink>
        <a:srgbClr val="FF0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right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BCD"/>
        </a:solidFill>
        <a:ln w="9525" cap="flat">
          <a:solidFill>
            <a:srgbClr val="0098DA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182870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 dirty="0" err="1" smtClean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Lato Regular"/>
            <a:cs typeface="Lato Regular"/>
            <a:sym typeface="Lato Regular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9525" cap="flat">
          <a:solidFill>
            <a:schemeClr val="bg2">
              <a:lumMod val="60000"/>
              <a:lumOff val="40000"/>
            </a:schemeClr>
          </a:solidFill>
          <a:prstDash val="solid"/>
          <a:miter lim="800000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45719" tIns="45719" rIns="45719" bIns="45719" numCol="1" spcCol="38100" rtlCol="0" anchor="t">
        <a:spAutoFit/>
      </a:bodyPr>
      <a:lstStyle>
        <a:defPPr marL="0" marR="0" indent="0" algn="l" defTabSz="182870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 dirty="0" err="1" smtClean="0">
            <a:ln>
              <a:noFill/>
            </a:ln>
            <a:solidFill>
              <a:schemeClr val="tx1"/>
            </a:solidFill>
            <a:effectLst/>
            <a:uFillTx/>
            <a:latin typeface="+mn-lt"/>
            <a:ea typeface="Lato Light"/>
            <a:cs typeface="Lato Light"/>
            <a:sym typeface="Lato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wind business-ppt-template_2020_v2.potx" id="{494E9DE4-CA58-4751-AFEB-3AC4A584FC29}" vid="{7B8B79E0-641A-4060-8038-5ACBCCFAE39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nd business-ppt-template_2020_v2.potx" id="{494E9DE4-CA58-4751-AFEB-3AC4A584FC29}" vid="{00B62972-4F41-426B-809B-82D3B882752B}"/>
    </a:ext>
  </a:extLst>
</a:theme>
</file>

<file path=ppt/theme/theme3.xml><?xml version="1.0" encoding="utf-8"?>
<a:theme xmlns:a="http://schemas.openxmlformats.org/drawingml/2006/main" name="Bright Theme">
  <a:themeElements>
    <a:clrScheme name="Bright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86EA"/>
      </a:accent1>
      <a:accent2>
        <a:srgbClr val="0097F4"/>
      </a:accent2>
      <a:accent3>
        <a:srgbClr val="004B8D"/>
      </a:accent3>
      <a:accent4>
        <a:srgbClr val="0068C4"/>
      </a:accent4>
      <a:accent5>
        <a:srgbClr val="3C7CBA"/>
      </a:accent5>
      <a:accent6>
        <a:srgbClr val="4999D8"/>
      </a:accent6>
      <a:hlink>
        <a:srgbClr val="0000FF"/>
      </a:hlink>
      <a:folHlink>
        <a:srgbClr val="FF00FF"/>
      </a:folHlink>
    </a:clrScheme>
    <a:fontScheme name="Bright Theme">
      <a:majorFont>
        <a:latin typeface="Helvetica"/>
        <a:ea typeface="Helvetica"/>
        <a:cs typeface="Helvetica"/>
      </a:majorFont>
      <a:minorFont>
        <a:latin typeface="Aleo"/>
        <a:ea typeface="Aleo"/>
        <a:cs typeface="Aleo"/>
      </a:minorFont>
    </a:fontScheme>
    <a:fmtScheme name="Bright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4F4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82870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333333"/>
            </a:solidFill>
            <a:effectLst/>
            <a:uFillTx/>
            <a:latin typeface="Lato Regular"/>
            <a:ea typeface="Lato Regular"/>
            <a:cs typeface="Lato Regular"/>
            <a:sym typeface="Lato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1828708" rtl="0" fontAlgn="auto" latinLnBrk="0" hangingPunct="0">
          <a:lnSpc>
            <a:spcPct val="114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700" b="0" i="0" u="none" strike="noStrike" cap="none" spc="0" normalizeH="0" baseline="0">
            <a:ln>
              <a:noFill/>
            </a:ln>
            <a:solidFill>
              <a:srgbClr val="333333"/>
            </a:solidFill>
            <a:effectLst/>
            <a:uFillTx/>
            <a:latin typeface="Lato Light"/>
            <a:ea typeface="Lato Light"/>
            <a:cs typeface="Lato Light"/>
            <a:sym typeface="La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4AEF1716E8F74AA4FDF322BC1BD80A" ma:contentTypeVersion="14" ma:contentTypeDescription="Create a new document." ma:contentTypeScope="" ma:versionID="45811680959c5253d301085cba5f8418">
  <xsd:schema xmlns:xsd="http://www.w3.org/2001/XMLSchema" xmlns:xs="http://www.w3.org/2001/XMLSchema" xmlns:p="http://schemas.microsoft.com/office/2006/metadata/properties" xmlns:ns2="eef5c390-f40f-4912-9ceb-eb5c5b047648" xmlns:ns3="6caf47d9-4953-44a1-985c-5096d6e5b992" targetNamespace="http://schemas.microsoft.com/office/2006/metadata/properties" ma:root="true" ma:fieldsID="208e1dd4e7fcf3110098e635a51a7bf8" ns2:_="" ns3:_="">
    <xsd:import namespace="eef5c390-f40f-4912-9ceb-eb5c5b047648"/>
    <xsd:import namespace="6caf47d9-4953-44a1-985c-5096d6e5b99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lcf76f155ced4ddcb4097134ff3c332f" minOccurs="0"/>
                <xsd:element ref="ns2:TaxCatchAll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5c390-f40f-4912-9ceb-eb5c5b04764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d38ceca-93d5-49c3-b158-c605a35d33ab}" ma:internalName="TaxCatchAll" ma:showField="CatchAllData" ma:web="eef5c390-f40f-4912-9ceb-eb5c5b0476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af47d9-4953-44a1-985c-5096d6e5b9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e73fc73-98c2-443e-9a5d-fecf0b61c6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caf47d9-4953-44a1-985c-5096d6e5b992">
      <Terms xmlns="http://schemas.microsoft.com/office/infopath/2007/PartnerControls"/>
    </lcf76f155ced4ddcb4097134ff3c332f>
    <TaxCatchAll xmlns="eef5c390-f40f-4912-9ceb-eb5c5b047648" xsi:nil="true"/>
    <_dlc_DocId xmlns="eef5c390-f40f-4912-9ceb-eb5c5b047648">3AV4A62E275V-2037731612-689</_dlc_DocId>
    <_dlc_DocIdUrl xmlns="eef5c390-f40f-4912-9ceb-eb5c5b047648">
      <Url>https://windsa.sharepoint.com/sites/DNSPORTAL/_layouts/15/DocIdRedir.aspx?ID=3AV4A62E275V-2037731612-689</Url>
      <Description>3AV4A62E275V-2037731612-689</Description>
    </_dlc_DocIdUrl>
  </documentManagement>
</p:properties>
</file>

<file path=customXml/itemProps1.xml><?xml version="1.0" encoding="utf-8"?>
<ds:datastoreItem xmlns:ds="http://schemas.openxmlformats.org/officeDocument/2006/customXml" ds:itemID="{47533014-8F19-40FE-83F8-0D25E66D96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f5c390-f40f-4912-9ceb-eb5c5b047648"/>
    <ds:schemaRef ds:uri="6caf47d9-4953-44a1-985c-5096d6e5b9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5B3B6F9-F9F6-4F2E-93D4-7B2507FB805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E926261D-3FC9-4756-82E4-63F407B8671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C2EB72E-B1C9-4D66-A3D4-864E2A82DEC4}">
  <ds:schemaRefs>
    <ds:schemaRef ds:uri="http://schemas.microsoft.com/office/2006/metadata/properties"/>
    <ds:schemaRef ds:uri="http://schemas.microsoft.com/office/infopath/2007/PartnerControls"/>
    <ds:schemaRef ds:uri="6caf47d9-4953-44a1-985c-5096d6e5b992"/>
    <ds:schemaRef ds:uri="eef5c390-f40f-4912-9ceb-eb5c5b04764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nd business-ppt-template_2020_v2</Template>
  <TotalTime>593</TotalTime>
  <Words>315</Words>
  <Application>Microsoft Office PowerPoint</Application>
  <PresentationFormat>On-screen Show (16:9)</PresentationFormat>
  <Paragraphs>42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leo</vt:lpstr>
      <vt:lpstr>Arial</vt:lpstr>
      <vt:lpstr>Calibri</vt:lpstr>
      <vt:lpstr>Calibri Light</vt:lpstr>
      <vt:lpstr>Lato Light</vt:lpstr>
      <vt:lpstr>Lato Regular</vt:lpstr>
      <vt:lpstr>Symbol</vt:lpstr>
      <vt:lpstr>1_Bright Theme</vt:lpstr>
      <vt:lpstr>Custom Design</vt:lpstr>
      <vt:lpstr>think-cell Slide</vt:lpstr>
      <vt:lpstr>ONE PRO- ΣΥΝΤΟΜΕΣ ΟΔΗΓΙΕΣ Collaboration σε Webex​</vt:lpstr>
      <vt:lpstr>Οδηγίες αναβάθμισης/ενεργοποίησης υπηρεσίας collaboration σε Webex</vt:lpstr>
      <vt:lpstr>Οδηγίες αναβάθμισης/ενεργοποίησης υπηρεσίας collaboration σε Webex</vt:lpstr>
      <vt:lpstr>Οδηγίες αναβάθμισης/ενεργοποίησης υπηρεσίας collaboration σε Webex</vt:lpstr>
      <vt:lpstr>Οδηγίες αναβάθμισης/ενεργοποίησης υπηρεσίας collaboration σε Webex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FOR YOUR PRESENTATION  TITLE FOR YOUR PRESENTATION</dc:title>
  <dc:creator>BEBLIDAKI NIKI</dc:creator>
  <cp:lastModifiedBy>MILTIADOU EFSTRATIOS</cp:lastModifiedBy>
  <cp:revision>24</cp:revision>
  <dcterms:created xsi:type="dcterms:W3CDTF">2022-10-10T08:40:23Z</dcterms:created>
  <dcterms:modified xsi:type="dcterms:W3CDTF">2022-12-22T15:2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54AEF1716E8F74AA4FDF322BC1BD80A</vt:lpwstr>
  </property>
  <property fmtid="{D5CDD505-2E9C-101B-9397-08002B2CF9AE}" pid="4" name="_dlc_DocIdItemGuid">
    <vt:lpwstr>71ed4aea-60bc-41ce-a80f-b480f525efcf</vt:lpwstr>
  </property>
  <property fmtid="{D5CDD505-2E9C-101B-9397-08002B2CF9AE}" pid="5" name="MediaServiceImageTags">
    <vt:lpwstr/>
  </property>
</Properties>
</file>